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5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2"/>
  </p:notesMasterIdLst>
  <p:sldIdLst>
    <p:sldId id="258" r:id="rId2"/>
    <p:sldId id="259" r:id="rId3"/>
    <p:sldId id="260" r:id="rId4"/>
    <p:sldId id="291" r:id="rId5"/>
    <p:sldId id="277" r:id="rId6"/>
    <p:sldId id="290" r:id="rId7"/>
    <p:sldId id="292" r:id="rId8"/>
    <p:sldId id="293" r:id="rId9"/>
    <p:sldId id="294" r:id="rId10"/>
    <p:sldId id="295" r:id="rId11"/>
  </p:sldIdLst>
  <p:sldSz cx="12192000" cy="6858000"/>
  <p:notesSz cx="6858000" cy="9144000"/>
  <p:custDataLst>
    <p:tags r:id="rId13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기본 구역" id="{A3A660C8-7B6D-4827-8039-F5E224F58560}">
          <p14:sldIdLst>
            <p14:sldId id="258"/>
            <p14:sldId id="259"/>
            <p14:sldId id="260"/>
            <p14:sldId id="291"/>
            <p14:sldId id="277"/>
            <p14:sldId id="290"/>
            <p14:sldId id="292"/>
            <p14:sldId id="293"/>
            <p14:sldId id="294"/>
            <p14:sldId id="2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314E"/>
    <a:srgbClr val="EEE2E5"/>
    <a:srgbClr val="F5DBE1"/>
    <a:srgbClr val="F0C8D2"/>
    <a:srgbClr val="D56580"/>
    <a:srgbClr val="E296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34" autoAdjust="0"/>
    <p:restoredTop sz="84741" autoAdjust="0"/>
  </p:normalViewPr>
  <p:slideViewPr>
    <p:cSldViewPr snapToGrid="0">
      <p:cViewPr varScale="1">
        <p:scale>
          <a:sx n="72" d="100"/>
          <a:sy n="72" d="100"/>
        </p:scale>
        <p:origin x="1070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0F6C3A-1AAB-4B84-B67E-417496E5BBB2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C38AF8-979C-42FC-BC97-D8CB3ACD84B4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36042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4429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00538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079353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02892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559799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C38AF8-979C-42FC-BC97-D8CB3ACD84B4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561717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D4B36A3D-D7F6-49A3-BF9B-24E7F4E990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>
            <a:extLst>
              <a:ext uri="{FF2B5EF4-FFF2-40B4-BE49-F238E27FC236}">
                <a16:creationId xmlns:a16="http://schemas.microsoft.com/office/drawing/2014/main" id="{44DD56AD-5A42-4344-A736-73296B28D6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7F86666-4728-43BE-B8AB-BCEED41B1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E2C6B326-E68E-4623-A0B1-F3F379E3C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77916A7-EDDD-4CEE-8412-BC42F2041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106384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464C16E1-4E02-43A9-A07F-8C4B6D7A6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96F0D7E1-216D-4376-87A7-54405E78E2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75E8C56-52A8-4655-A332-9CD131E188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2BEE4CC-74A7-49DF-BCA6-E822B2946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85C3677C-0248-4F6E-A011-44B75A81F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2800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>
            <a:extLst>
              <a:ext uri="{FF2B5EF4-FFF2-40B4-BE49-F238E27FC236}">
                <a16:creationId xmlns:a16="http://schemas.microsoft.com/office/drawing/2014/main" id="{A3462DF7-2534-4106-95D7-902A7F3131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>
            <a:extLst>
              <a:ext uri="{FF2B5EF4-FFF2-40B4-BE49-F238E27FC236}">
                <a16:creationId xmlns:a16="http://schemas.microsoft.com/office/drawing/2014/main" id="{C3BEBF64-A575-4CAB-825E-3EE03DD45F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7A8E3D9A-2EBB-4385-BD95-3E1FFE1A6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F890ECD-2AD7-41C8-9A61-E1695D3E8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599B6A3-6087-4265-972C-696E23175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68875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7B076FEF-EFB1-45EB-9E96-324168259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B6E6B68F-7F61-4786-86E2-9FE2DF4067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2EEBD508-F1A0-40E2-BB8D-FAEABD591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69492649-30D5-4A71-B926-A56F5B47C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4D8204EF-4FA0-4381-A1B9-4CA12E4DC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63687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028904E8-91F1-42EF-9862-3927270F3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62E1E2EF-83E1-484F-8960-62BF3868FF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4ECB83C-9417-41B2-AD08-155D28E8E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1F0C8A7-0BE9-4C0E-BD47-6666D0029C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D98E5C4-CBD9-4F50-830C-E7F29E41D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26404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DFE5D2B-A10B-4723-AAC1-BB9EAF8E1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EF04D9D-AD9D-4F76-88F0-67A817FFD9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EF966E27-D715-46CE-8EF8-1E44989CB3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17806684-FFAC-4710-968E-AF53AF19B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E56E47BC-D793-4FC3-A56A-EF62D1D5B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FF6BD60A-6644-4118-BA9F-67A7583FC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04921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A2A990B9-DDC2-4A20-B0FA-9DEADF6C7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419878D-1AA2-4C2B-90E2-B5C340863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내용 개체 틀 3">
            <a:extLst>
              <a:ext uri="{FF2B5EF4-FFF2-40B4-BE49-F238E27FC236}">
                <a16:creationId xmlns:a16="http://schemas.microsoft.com/office/drawing/2014/main" id="{21F7136C-647F-49F5-BC81-E87344099C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>
            <a:extLst>
              <a:ext uri="{FF2B5EF4-FFF2-40B4-BE49-F238E27FC236}">
                <a16:creationId xmlns:a16="http://schemas.microsoft.com/office/drawing/2014/main" id="{8982AE05-9485-4EDF-913E-8B418788E7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내용 개체 틀 5">
            <a:extLst>
              <a:ext uri="{FF2B5EF4-FFF2-40B4-BE49-F238E27FC236}">
                <a16:creationId xmlns:a16="http://schemas.microsoft.com/office/drawing/2014/main" id="{50BAA966-BC02-4433-85D6-C8709493ED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6">
            <a:extLst>
              <a:ext uri="{FF2B5EF4-FFF2-40B4-BE49-F238E27FC236}">
                <a16:creationId xmlns:a16="http://schemas.microsoft.com/office/drawing/2014/main" id="{E530CF4B-7F32-4790-BCEA-7B45AE2BE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8" name="바닥글 개체 틀 7">
            <a:extLst>
              <a:ext uri="{FF2B5EF4-FFF2-40B4-BE49-F238E27FC236}">
                <a16:creationId xmlns:a16="http://schemas.microsoft.com/office/drawing/2014/main" id="{856F3F8D-C4E5-4473-BFD6-BCC309B95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>
            <a:extLst>
              <a:ext uri="{FF2B5EF4-FFF2-40B4-BE49-F238E27FC236}">
                <a16:creationId xmlns:a16="http://schemas.microsoft.com/office/drawing/2014/main" id="{41EA9E98-2D50-4CA7-846A-076056F3C9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7306245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3D72AF14-9B95-4744-8B67-CBD999250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3D13F9C2-CBD7-42D9-B660-43474D06A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4" name="바닥글 개체 틀 3">
            <a:extLst>
              <a:ext uri="{FF2B5EF4-FFF2-40B4-BE49-F238E27FC236}">
                <a16:creationId xmlns:a16="http://schemas.microsoft.com/office/drawing/2014/main" id="{23620A61-2BD5-4B85-AE7B-FDC02F5012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>
            <a:extLst>
              <a:ext uri="{FF2B5EF4-FFF2-40B4-BE49-F238E27FC236}">
                <a16:creationId xmlns:a16="http://schemas.microsoft.com/office/drawing/2014/main" id="{752605B8-3073-4537-86B2-8C43F24E8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76448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>
            <a:extLst>
              <a:ext uri="{FF2B5EF4-FFF2-40B4-BE49-F238E27FC236}">
                <a16:creationId xmlns:a16="http://schemas.microsoft.com/office/drawing/2014/main" id="{9B841FE9-124D-4D74-A7DE-EA00ECB7DF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3" name="바닥글 개체 틀 2">
            <a:extLst>
              <a:ext uri="{FF2B5EF4-FFF2-40B4-BE49-F238E27FC236}">
                <a16:creationId xmlns:a16="http://schemas.microsoft.com/office/drawing/2014/main" id="{FA6FD07B-8B2E-414A-82E9-7B659F6F8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>
            <a:extLst>
              <a:ext uri="{FF2B5EF4-FFF2-40B4-BE49-F238E27FC236}">
                <a16:creationId xmlns:a16="http://schemas.microsoft.com/office/drawing/2014/main" id="{5DF74972-A396-47BD-8229-A7D21AB78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63923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23DD095B-A62F-4977-AEF3-FDDD8AADB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1DEB8C64-D95A-490C-9369-595D82D287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0FF4A8BD-15B3-4C9A-9054-1CD474344D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DB4F0993-7C2B-4E8D-9694-818ECCCA8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76FA9A90-A0C0-4B50-A359-E96CA5F6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C482FC4D-DAED-436B-BA59-9224DC4AB3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831231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CF449D4E-E6D4-45E4-96D5-C5D4F940E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id="{5CAF9145-7A77-4432-9EEB-AFFD93C00A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>
            <a:extLst>
              <a:ext uri="{FF2B5EF4-FFF2-40B4-BE49-F238E27FC236}">
                <a16:creationId xmlns:a16="http://schemas.microsoft.com/office/drawing/2014/main" id="{5178BA80-45A4-4E86-A5DA-1C850C656F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날짜 개체 틀 4">
            <a:extLst>
              <a:ext uri="{FF2B5EF4-FFF2-40B4-BE49-F238E27FC236}">
                <a16:creationId xmlns:a16="http://schemas.microsoft.com/office/drawing/2014/main" id="{90D8E83B-4A5C-4998-80A9-74776DE3A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AB91F50E-E2BF-43B4-BAED-01912A310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739389E1-554B-491F-8828-F3F230B53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526386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E314E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>
            <a:extLst>
              <a:ext uri="{FF2B5EF4-FFF2-40B4-BE49-F238E27FC236}">
                <a16:creationId xmlns:a16="http://schemas.microsoft.com/office/drawing/2014/main" id="{6C272CDE-4066-4321-9515-784C1827E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>
            <a:extLst>
              <a:ext uri="{FF2B5EF4-FFF2-40B4-BE49-F238E27FC236}">
                <a16:creationId xmlns:a16="http://schemas.microsoft.com/office/drawing/2014/main" id="{106085DD-42F3-4413-BBA5-EFD84F777D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6103CDA4-4CDD-4C34-90E9-10A16357416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05F1FB-1820-4857-9839-FBAFB1C3A8AC}" type="datetimeFigureOut">
              <a:rPr lang="ko-KR" altLang="en-US" smtClean="0"/>
              <a:t>2020-05-03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A0758492-CDDE-4DA6-B6F5-DA7D97A3BF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ABECE6C7-E4AA-467F-B185-7F4FCE4E6A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1490-48EB-47CD-A8DC-338D83C4B916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49395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2.xml"/><Relationship Id="rId7" Type="http://schemas.openxmlformats.org/officeDocument/2006/relationships/image" Target="../media/image10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3.png"/><Relationship Id="rId4" Type="http://schemas.openxmlformats.org/officeDocument/2006/relationships/tags" Target="../tags/tag53.xml"/><Relationship Id="rId9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image" Target="../media/image1.emf"/><Relationship Id="rId2" Type="http://schemas.openxmlformats.org/officeDocument/2006/relationships/tags" Target="../tags/tag8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image" Target="../media/image2.png"/><Relationship Id="rId5" Type="http://schemas.openxmlformats.org/officeDocument/2006/relationships/tags" Target="../tags/tag24.xml"/><Relationship Id="rId10" Type="http://schemas.openxmlformats.org/officeDocument/2006/relationships/image" Target="../media/image1.emf"/><Relationship Id="rId4" Type="http://schemas.openxmlformats.org/officeDocument/2006/relationships/tags" Target="../tags/tag23.xml"/><Relationship Id="rId9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.pn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5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0.xml"/><Relationship Id="rId7" Type="http://schemas.openxmlformats.org/officeDocument/2006/relationships/image" Target="../media/image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8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9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20789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자유형: 도형 22">
            <a:extLst>
              <a:ext uri="{FF2B5EF4-FFF2-40B4-BE49-F238E27FC236}">
                <a16:creationId xmlns:a16="http://schemas.microsoft.com/office/drawing/2014/main" id="{F0758ED1-00DA-4BF6-99F0-16A95DE8BE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005702" y="1564640"/>
            <a:ext cx="3728720" cy="3728720"/>
          </a:xfrm>
          <a:custGeom>
            <a:avLst/>
            <a:gdLst>
              <a:gd name="connsiteX0" fmla="*/ 0 w 3728720"/>
              <a:gd name="connsiteY0" fmla="*/ 0 h 3728720"/>
              <a:gd name="connsiteX1" fmla="*/ 3728720 w 3728720"/>
              <a:gd name="connsiteY1" fmla="*/ 0 h 3728720"/>
              <a:gd name="connsiteX2" fmla="*/ 3728720 w 3728720"/>
              <a:gd name="connsiteY2" fmla="*/ 1078842 h 3728720"/>
              <a:gd name="connsiteX3" fmla="*/ 3463011 w 3728720"/>
              <a:gd name="connsiteY3" fmla="*/ 1078842 h 3728720"/>
              <a:gd name="connsiteX4" fmla="*/ 3455666 w 3728720"/>
              <a:gd name="connsiteY4" fmla="*/ 273054 h 3728720"/>
              <a:gd name="connsiteX5" fmla="*/ 273054 w 3728720"/>
              <a:gd name="connsiteY5" fmla="*/ 273054 h 3728720"/>
              <a:gd name="connsiteX6" fmla="*/ 273054 w 3728720"/>
              <a:gd name="connsiteY6" fmla="*/ 3455666 h 3728720"/>
              <a:gd name="connsiteX7" fmla="*/ 3455666 w 3728720"/>
              <a:gd name="connsiteY7" fmla="*/ 3455666 h 3728720"/>
              <a:gd name="connsiteX8" fmla="*/ 3455666 w 3728720"/>
              <a:gd name="connsiteY8" fmla="*/ 3094765 h 3728720"/>
              <a:gd name="connsiteX9" fmla="*/ 3728720 w 3728720"/>
              <a:gd name="connsiteY9" fmla="*/ 3094765 h 3728720"/>
              <a:gd name="connsiteX10" fmla="*/ 3728720 w 3728720"/>
              <a:gd name="connsiteY10" fmla="*/ 3728720 h 3728720"/>
              <a:gd name="connsiteX11" fmla="*/ 0 w 3728720"/>
              <a:gd name="connsiteY11" fmla="*/ 3728720 h 372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728720" h="3728720">
                <a:moveTo>
                  <a:pt x="0" y="0"/>
                </a:moveTo>
                <a:lnTo>
                  <a:pt x="3728720" y="0"/>
                </a:lnTo>
                <a:lnTo>
                  <a:pt x="3728720" y="1078842"/>
                </a:lnTo>
                <a:lnTo>
                  <a:pt x="3463011" y="1078842"/>
                </a:lnTo>
                <a:lnTo>
                  <a:pt x="3455666" y="273054"/>
                </a:lnTo>
                <a:lnTo>
                  <a:pt x="273054" y="273054"/>
                </a:lnTo>
                <a:lnTo>
                  <a:pt x="273054" y="3455666"/>
                </a:lnTo>
                <a:lnTo>
                  <a:pt x="3455666" y="3455666"/>
                </a:lnTo>
                <a:lnTo>
                  <a:pt x="3455666" y="3094765"/>
                </a:lnTo>
                <a:lnTo>
                  <a:pt x="3728720" y="3094765"/>
                </a:lnTo>
                <a:lnTo>
                  <a:pt x="3728720" y="3728720"/>
                </a:lnTo>
                <a:lnTo>
                  <a:pt x="0" y="3728720"/>
                </a:lnTo>
                <a:close/>
              </a:path>
            </a:pathLst>
          </a:custGeom>
          <a:solidFill>
            <a:srgbClr val="AE31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schemeClr val="tx1"/>
              </a:solidFill>
            </a:endParaRPr>
          </a:p>
        </p:txBody>
      </p:sp>
      <p:cxnSp>
        <p:nvCxnSpPr>
          <p:cNvPr id="20" name="직선 연결선 19">
            <a:extLst>
              <a:ext uri="{FF2B5EF4-FFF2-40B4-BE49-F238E27FC236}">
                <a16:creationId xmlns:a16="http://schemas.microsoft.com/office/drawing/2014/main" id="{BC5DF5F2-13CE-4373-8244-72E92F959A9E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0" y="0"/>
            <a:ext cx="2011680" cy="1564640"/>
          </a:xfrm>
          <a:prstGeom prst="line">
            <a:avLst/>
          </a:prstGeom>
          <a:ln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>
            <p:custDataLst>
              <p:tags r:id="rId5"/>
            </p:custDataLst>
          </p:nvPr>
        </p:nvSpPr>
        <p:spPr>
          <a:xfrm>
            <a:off x="3948617" y="2725720"/>
            <a:ext cx="4294765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5000" dirty="0">
                <a:latin typeface="나눔스퀘어라운드 ExtraBold" pitchFamily="50" charset="-127"/>
                <a:ea typeface="나눔스퀘어라운드 ExtraBold" pitchFamily="50" charset="-127"/>
              </a:rPr>
              <a:t>독 도 영 토 학</a:t>
            </a:r>
          </a:p>
        </p:txBody>
      </p:sp>
      <p:sp>
        <p:nvSpPr>
          <p:cNvPr id="10" name="TextBox 9"/>
          <p:cNvSpPr txBox="1"/>
          <p:nvPr>
            <p:custDataLst>
              <p:tags r:id="rId6"/>
            </p:custDataLst>
          </p:nvPr>
        </p:nvSpPr>
        <p:spPr>
          <a:xfrm>
            <a:off x="5734422" y="3626245"/>
            <a:ext cx="2669320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2500" dirty="0">
                <a:latin typeface="나눔스퀘어라운드 ExtraBold" pitchFamily="50" charset="-127"/>
                <a:ea typeface="나눔스퀘어라운드 ExtraBold" pitchFamily="50" charset="-127"/>
              </a:rPr>
              <a:t>21823595 </a:t>
            </a:r>
            <a:r>
              <a:rPr lang="ko-KR" altLang="en-US" sz="2500" dirty="0" err="1">
                <a:latin typeface="나눔스퀘어라운드 ExtraBold" pitchFamily="50" charset="-127"/>
                <a:ea typeface="나눔스퀘어라운드 ExtraBold" pitchFamily="50" charset="-127"/>
              </a:rPr>
              <a:t>이연진</a:t>
            </a:r>
            <a:endParaRPr lang="ko-KR" altLang="en-US" sz="2500" dirty="0"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7" name="TextBox 6"/>
          <p:cNvSpPr txBox="1"/>
          <p:nvPr>
            <p:custDataLst>
              <p:tags r:id="rId7"/>
            </p:custDataLst>
          </p:nvPr>
        </p:nvSpPr>
        <p:spPr>
          <a:xfrm>
            <a:off x="8686800" y="6117975"/>
            <a:ext cx="34612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ko-KR" altLang="en-US" dirty="0">
                <a:solidFill>
                  <a:schemeClr val="bg1">
                    <a:lumMod val="75000"/>
                  </a:schemeClr>
                </a:solidFill>
              </a:rPr>
              <a:t>대한민국 </a:t>
            </a:r>
            <a:r>
              <a:rPr lang="en-US" altLang="ko-KR" dirty="0">
                <a:solidFill>
                  <a:schemeClr val="bg1">
                    <a:lumMod val="75000"/>
                  </a:schemeClr>
                </a:solidFill>
              </a:rPr>
              <a:t>No.1 </a:t>
            </a:r>
            <a:r>
              <a:rPr lang="ko-KR" altLang="en-US" dirty="0">
                <a:solidFill>
                  <a:schemeClr val="bg1">
                    <a:lumMod val="75000"/>
                  </a:schemeClr>
                </a:solidFill>
              </a:rPr>
              <a:t>강사평가 플랫폼</a:t>
            </a:r>
            <a:endParaRPr lang="en-US" altLang="ko-KR" dirty="0">
              <a:solidFill>
                <a:schemeClr val="bg1">
                  <a:lumMod val="75000"/>
                </a:schemeClr>
              </a:solidFill>
            </a:endParaRPr>
          </a:p>
          <a:p>
            <a:pPr algn="r"/>
            <a:r>
              <a:rPr lang="ko-KR" altLang="en-US" dirty="0" err="1">
                <a:solidFill>
                  <a:schemeClr val="bg1">
                    <a:lumMod val="75000"/>
                  </a:schemeClr>
                </a:solidFill>
              </a:rPr>
              <a:t>별별선생</a:t>
            </a:r>
            <a:r>
              <a:rPr lang="ko-KR" altLang="en-US" dirty="0">
                <a:solidFill>
                  <a:schemeClr val="bg1">
                    <a:lumMod val="75000"/>
                  </a:schemeClr>
                </a:solidFill>
              </a:rPr>
              <a:t> 제작</a:t>
            </a:r>
          </a:p>
        </p:txBody>
      </p:sp>
    </p:spTree>
    <p:extLst>
      <p:ext uri="{BB962C8B-B14F-4D97-AF65-F5344CB8AC3E}">
        <p14:creationId xmlns:p14="http://schemas.microsoft.com/office/powerpoint/2010/main" val="2819944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1DABB5C7-2AA4-4090-A30F-F87094B4D921}"/>
              </a:ext>
            </a:extLst>
          </p:cNvPr>
          <p:cNvSpPr/>
          <p:nvPr/>
        </p:nvSpPr>
        <p:spPr>
          <a:xfrm>
            <a:off x="661929" y="1047749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900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A7AB436-3D72-402E-BC7A-8697BDEB3520}"/>
              </a:ext>
            </a:extLst>
          </p:cNvPr>
          <p:cNvSpPr/>
          <p:nvPr/>
        </p:nvSpPr>
        <p:spPr>
          <a:xfrm>
            <a:off x="3234788" y="1208569"/>
            <a:ext cx="8543596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고종 황제</a:t>
            </a:r>
            <a:r>
              <a:rPr lang="en-US" altLang="ko-KR" sz="2500" dirty="0"/>
              <a:t>, </a:t>
            </a:r>
            <a:r>
              <a:rPr lang="ko-KR" altLang="en-US" sz="2500" dirty="0"/>
              <a:t>울릉도   울도 개칭</a:t>
            </a:r>
            <a:r>
              <a:rPr lang="en-US" altLang="ko-KR" sz="2500" dirty="0"/>
              <a:t>, </a:t>
            </a:r>
            <a:r>
              <a:rPr lang="ko-KR" altLang="en-US" sz="2500" dirty="0"/>
              <a:t>도감을 군수로 개정한 건 제정 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독도는 울릉군의 한 부속도서</a:t>
            </a:r>
            <a:r>
              <a:rPr lang="en-US" altLang="ko-KR" sz="2500" dirty="0"/>
              <a:t>, </a:t>
            </a:r>
            <a:r>
              <a:rPr lang="ko-KR" altLang="en-US" sz="2500" dirty="0"/>
              <a:t>강원도 편입</a:t>
            </a:r>
            <a:endParaRPr lang="en-US" altLang="ko-KR" sz="2500" dirty="0"/>
          </a:p>
          <a:p>
            <a:r>
              <a:rPr lang="en-US" altLang="ko-KR" sz="2500" dirty="0"/>
              <a:t>   </a:t>
            </a:r>
          </a:p>
          <a:p>
            <a:r>
              <a:rPr lang="en-US" altLang="ko-KR" dirty="0"/>
              <a:t>    </a:t>
            </a:r>
          </a:p>
          <a:p>
            <a:r>
              <a:rPr lang="en-US" altLang="ko-KR" dirty="0"/>
              <a:t>      ‘</a:t>
            </a:r>
            <a:r>
              <a:rPr lang="ko-KR" altLang="en-US" dirty="0"/>
              <a:t>칙령 제 </a:t>
            </a:r>
            <a:r>
              <a:rPr lang="en-US" altLang="ko-KR" dirty="0"/>
              <a:t>41</a:t>
            </a:r>
            <a:r>
              <a:rPr lang="ko-KR" altLang="en-US" dirty="0"/>
              <a:t>조</a:t>
            </a:r>
            <a:r>
              <a:rPr lang="en-US" altLang="ko-KR" dirty="0"/>
              <a:t>’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울릉도에 도감을 두어 도민들을 보호하고 사무를 관리</a:t>
            </a:r>
            <a:endParaRPr lang="en-US" altLang="ko-KR" sz="2500" dirty="0"/>
          </a:p>
          <a:p>
            <a:r>
              <a:rPr lang="en-US" altLang="ko-KR" dirty="0"/>
              <a:t> </a:t>
            </a:r>
          </a:p>
          <a:p>
            <a:endParaRPr lang="en-US" altLang="ko-KR" dirty="0"/>
          </a:p>
          <a:p>
            <a:r>
              <a:rPr lang="en-US" altLang="ko-KR" dirty="0"/>
              <a:t> -  ‘</a:t>
            </a:r>
            <a:r>
              <a:rPr lang="ko-KR" altLang="en-US" dirty="0"/>
              <a:t>의정부 청의서‘</a:t>
            </a:r>
            <a:endParaRPr lang="en-US" altLang="ko-KR" dirty="0"/>
          </a:p>
          <a:p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B00C5C36-6622-4EFC-AAB4-744F47A3D4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33" y="2466753"/>
            <a:ext cx="1328200" cy="1700347"/>
          </a:xfrm>
          <a:prstGeom prst="rect">
            <a:avLst/>
          </a:prstGeom>
        </p:spPr>
      </p:pic>
      <p:pic>
        <p:nvPicPr>
          <p:cNvPr id="6" name="그림 5">
            <a:extLst>
              <a:ext uri="{FF2B5EF4-FFF2-40B4-BE49-F238E27FC236}">
                <a16:creationId xmlns:a16="http://schemas.microsoft.com/office/drawing/2014/main" id="{CB9E73EB-85A8-4A1C-9EEC-AA8E4600F2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45074" y="2466753"/>
            <a:ext cx="1404272" cy="1756494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D3221F2F-2918-4056-86FA-9AC60C20D6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3661" y="4318839"/>
            <a:ext cx="1404273" cy="2028798"/>
          </a:xfrm>
          <a:prstGeom prst="rect">
            <a:avLst/>
          </a:prstGeom>
        </p:spPr>
      </p:pic>
      <p:pic>
        <p:nvPicPr>
          <p:cNvPr id="14" name="그림 13">
            <a:extLst>
              <a:ext uri="{FF2B5EF4-FFF2-40B4-BE49-F238E27FC236}">
                <a16:creationId xmlns:a16="http://schemas.microsoft.com/office/drawing/2014/main" id="{C056FF10-F8C4-4016-B47B-F0BF5ED9A92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40187" y="4501850"/>
            <a:ext cx="6046375" cy="2356150"/>
          </a:xfrm>
          <a:prstGeom prst="rect">
            <a:avLst/>
          </a:prstGeom>
        </p:spPr>
      </p:pic>
      <p:sp>
        <p:nvSpPr>
          <p:cNvPr id="16" name="화살표: 오른쪽 15">
            <a:extLst>
              <a:ext uri="{FF2B5EF4-FFF2-40B4-BE49-F238E27FC236}">
                <a16:creationId xmlns:a16="http://schemas.microsoft.com/office/drawing/2014/main" id="{A17DB06D-4944-4B35-978E-A77E4DAB9B29}"/>
              </a:ext>
            </a:extLst>
          </p:cNvPr>
          <p:cNvSpPr/>
          <p:nvPr/>
        </p:nvSpPr>
        <p:spPr>
          <a:xfrm rot="10800000">
            <a:off x="2949346" y="2929270"/>
            <a:ext cx="676312" cy="499730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화살표: 오른쪽 3">
            <a:extLst>
              <a:ext uri="{FF2B5EF4-FFF2-40B4-BE49-F238E27FC236}">
                <a16:creationId xmlns:a16="http://schemas.microsoft.com/office/drawing/2014/main" id="{3AD9F653-7608-4F7C-817B-5BE881E9FA1B}"/>
              </a:ext>
            </a:extLst>
          </p:cNvPr>
          <p:cNvSpPr/>
          <p:nvPr/>
        </p:nvSpPr>
        <p:spPr>
          <a:xfrm>
            <a:off x="6326372" y="1297172"/>
            <a:ext cx="308344" cy="308344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9874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41497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16" imgW="493" imgH="493" progId="TCLayout.ActiveDocument.1">
                  <p:embed/>
                </p:oleObj>
              </mc:Choice>
              <mc:Fallback>
                <p:oleObj name="think-cell Slide" r:id="rId1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직선 연결선 25">
            <a:extLst>
              <a:ext uri="{FF2B5EF4-FFF2-40B4-BE49-F238E27FC236}">
                <a16:creationId xmlns:a16="http://schemas.microsoft.com/office/drawing/2014/main" id="{A990E9C5-A2F8-47F5-BD3C-4ED88F4472A9}"/>
              </a:ext>
            </a:extLst>
          </p:cNvPr>
          <p:cNvCxnSpPr/>
          <p:nvPr>
            <p:custDataLst>
              <p:tags r:id="rId3"/>
            </p:custDataLst>
          </p:nvPr>
        </p:nvCxnSpPr>
        <p:spPr>
          <a:xfrm>
            <a:off x="0" y="3864085"/>
            <a:ext cx="1219200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3908DC65-2482-4018-A625-23BB8BECF78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75174" y="2965243"/>
            <a:ext cx="7104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dirty="0">
                <a:solidFill>
                  <a:schemeClr val="bg1">
                    <a:lumMod val="50000"/>
                  </a:schemeClr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1</a:t>
            </a:r>
            <a:endParaRPr lang="ko-KR" altLang="en-US" sz="3200" dirty="0">
              <a:solidFill>
                <a:schemeClr val="bg1">
                  <a:lumMod val="50000"/>
                </a:schemeClr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21317B6-0FD0-44DD-986C-4411105471D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37480" y="4209058"/>
            <a:ext cx="7104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dirty="0">
                <a:solidFill>
                  <a:schemeClr val="bg1">
                    <a:lumMod val="50000"/>
                  </a:schemeClr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2</a:t>
            </a:r>
            <a:endParaRPr lang="ko-KR" altLang="en-US" sz="3200" dirty="0">
              <a:solidFill>
                <a:schemeClr val="bg1">
                  <a:lumMod val="50000"/>
                </a:schemeClr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30FA85-BA49-4650-9DD9-11637DF969E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550586" y="2913550"/>
            <a:ext cx="7104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3200" dirty="0">
                <a:solidFill>
                  <a:schemeClr val="bg1">
                    <a:lumMod val="50000"/>
                  </a:schemeClr>
                </a:solidFill>
                <a:latin typeface="나눔스퀘어라운드 ExtraBold" pitchFamily="50" charset="-127"/>
                <a:ea typeface="나눔스퀘어라운드 ExtraBold" pitchFamily="50" charset="-127"/>
              </a:rPr>
              <a:t>03</a:t>
            </a:r>
            <a:endParaRPr lang="ko-KR" altLang="en-US" sz="3200" dirty="0">
              <a:solidFill>
                <a:schemeClr val="bg1">
                  <a:lumMod val="50000"/>
                </a:schemeClr>
              </a:solidFill>
              <a:latin typeface="나눔스퀘어라운드 ExtraBold" pitchFamily="50" charset="-127"/>
              <a:ea typeface="나눔스퀘어라운드 ExtraBold" pitchFamily="50" charset="-127"/>
            </a:endParaRPr>
          </a:p>
        </p:txBody>
      </p:sp>
      <p:grpSp>
        <p:nvGrpSpPr>
          <p:cNvPr id="36" name="그룹 35">
            <a:extLst>
              <a:ext uri="{FF2B5EF4-FFF2-40B4-BE49-F238E27FC236}">
                <a16:creationId xmlns:a16="http://schemas.microsoft.com/office/drawing/2014/main" id="{BE250133-1306-4F4F-A462-74B4C8F85FCB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92105" y="3752325"/>
            <a:ext cx="2316480" cy="1361440"/>
            <a:chOff x="792105" y="3281680"/>
            <a:chExt cx="2316480" cy="1361440"/>
          </a:xfrm>
        </p:grpSpPr>
        <p:sp>
          <p:nvSpPr>
            <p:cNvPr id="30" name="사각형: 둥근 모서리 29">
              <a:extLst>
                <a:ext uri="{FF2B5EF4-FFF2-40B4-BE49-F238E27FC236}">
                  <a16:creationId xmlns:a16="http://schemas.microsoft.com/office/drawing/2014/main" id="{3C2268C4-51F5-4BE0-8E8A-38CFED60717F}"/>
                </a:ext>
              </a:extLst>
            </p:cNvPr>
            <p:cNvSpPr/>
            <p:nvPr/>
          </p:nvSpPr>
          <p:spPr>
            <a:xfrm>
              <a:off x="792105" y="3969841"/>
              <a:ext cx="2316480" cy="673279"/>
            </a:xfrm>
            <a:prstGeom prst="roundRect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14350" indent="-514350" algn="ctr">
                <a:buAutoNum type="arabicPeriod"/>
              </a:pPr>
              <a:r>
                <a:rPr lang="ko-KR" altLang="en-US" sz="2800" dirty="0">
                  <a:latin typeface="나눔스퀘어라운드 Bold" pitchFamily="50" charset="-127"/>
                  <a:ea typeface="나눔스퀘어라운드 Bold" pitchFamily="50" charset="-127"/>
                </a:rPr>
                <a:t>독도 역사</a:t>
              </a:r>
            </a:p>
          </p:txBody>
        </p:sp>
        <p:sp>
          <p:nvSpPr>
            <p:cNvPr id="31" name="타원 30">
              <a:extLst>
                <a:ext uri="{FF2B5EF4-FFF2-40B4-BE49-F238E27FC236}">
                  <a16:creationId xmlns:a16="http://schemas.microsoft.com/office/drawing/2014/main" id="{C1430966-F5A2-49FA-AE7F-FBED1670D347}"/>
                </a:ext>
              </a:extLst>
            </p:cNvPr>
            <p:cNvSpPr/>
            <p:nvPr/>
          </p:nvSpPr>
          <p:spPr>
            <a:xfrm>
              <a:off x="1818640" y="3281680"/>
              <a:ext cx="223520" cy="223520"/>
            </a:xfrm>
            <a:prstGeom prst="ellips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cxnSp>
          <p:nvCxnSpPr>
            <p:cNvPr id="33" name="직선 연결선 32">
              <a:extLst>
                <a:ext uri="{FF2B5EF4-FFF2-40B4-BE49-F238E27FC236}">
                  <a16:creationId xmlns:a16="http://schemas.microsoft.com/office/drawing/2014/main" id="{A852B980-A201-4903-8B6B-21AD72867372}"/>
                </a:ext>
              </a:extLst>
            </p:cNvPr>
            <p:cNvCxnSpPr>
              <a:cxnSpLocks/>
            </p:cNvCxnSpPr>
            <p:nvPr/>
          </p:nvCxnSpPr>
          <p:spPr>
            <a:xfrm>
              <a:off x="1910080" y="3383280"/>
              <a:ext cx="9785" cy="647521"/>
            </a:xfrm>
            <a:prstGeom prst="line">
              <a:avLst/>
            </a:prstGeom>
            <a:ln w="38100">
              <a:solidFill>
                <a:srgbClr val="AE31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그룹 40">
            <a:extLst>
              <a:ext uri="{FF2B5EF4-FFF2-40B4-BE49-F238E27FC236}">
                <a16:creationId xmlns:a16="http://schemas.microsoft.com/office/drawing/2014/main" id="{18E526C0-6EE2-41D7-A7A4-ADA9690F259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 rot="10800000">
            <a:off x="4734466" y="2614405"/>
            <a:ext cx="2656934" cy="1361440"/>
            <a:chOff x="451651" y="3281680"/>
            <a:chExt cx="2656934" cy="1361440"/>
          </a:xfrm>
        </p:grpSpPr>
        <p:sp>
          <p:nvSpPr>
            <p:cNvPr id="42" name="사각형: 둥근 모서리 41">
              <a:extLst>
                <a:ext uri="{FF2B5EF4-FFF2-40B4-BE49-F238E27FC236}">
                  <a16:creationId xmlns:a16="http://schemas.microsoft.com/office/drawing/2014/main" id="{917A62F7-9670-4463-94B4-18037EBBEC33}"/>
                </a:ext>
              </a:extLst>
            </p:cNvPr>
            <p:cNvSpPr/>
            <p:nvPr/>
          </p:nvSpPr>
          <p:spPr>
            <a:xfrm rot="10800000">
              <a:off x="451651" y="3969841"/>
              <a:ext cx="2656934" cy="673279"/>
            </a:xfrm>
            <a:prstGeom prst="roundRect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700" dirty="0">
                  <a:latin typeface="나눔스퀘어라운드 Bold" pitchFamily="50" charset="-127"/>
                  <a:ea typeface="나눔스퀘어라운드 Bold" pitchFamily="50" charset="-127"/>
                </a:rPr>
                <a:t>2. </a:t>
              </a:r>
              <a:r>
                <a:rPr lang="ko-KR" altLang="en-US" sz="2700" dirty="0">
                  <a:latin typeface="나눔스퀘어라운드 Bold" pitchFamily="50" charset="-127"/>
                  <a:ea typeface="나눔스퀘어라운드 Bold" pitchFamily="50" charset="-127"/>
                </a:rPr>
                <a:t>현재 독도는</a:t>
              </a:r>
              <a:r>
                <a:rPr lang="en-US" altLang="ko-KR" sz="2700" dirty="0">
                  <a:latin typeface="나눔스퀘어라운드 Bold" pitchFamily="50" charset="-127"/>
                  <a:ea typeface="나눔스퀘어라운드 Bold" pitchFamily="50" charset="-127"/>
                </a:rPr>
                <a:t>?</a:t>
              </a:r>
              <a:endParaRPr lang="ko-KR" altLang="en-US" sz="2700" dirty="0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43" name="타원 42">
              <a:extLst>
                <a:ext uri="{FF2B5EF4-FFF2-40B4-BE49-F238E27FC236}">
                  <a16:creationId xmlns:a16="http://schemas.microsoft.com/office/drawing/2014/main" id="{352DFC7D-07DE-4C75-9523-CA71EE0C2161}"/>
                </a:ext>
              </a:extLst>
            </p:cNvPr>
            <p:cNvSpPr/>
            <p:nvPr/>
          </p:nvSpPr>
          <p:spPr>
            <a:xfrm>
              <a:off x="1818640" y="3281680"/>
              <a:ext cx="223520" cy="223520"/>
            </a:xfrm>
            <a:prstGeom prst="ellips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cxnSp>
          <p:nvCxnSpPr>
            <p:cNvPr id="44" name="직선 연결선 43">
              <a:extLst>
                <a:ext uri="{FF2B5EF4-FFF2-40B4-BE49-F238E27FC236}">
                  <a16:creationId xmlns:a16="http://schemas.microsoft.com/office/drawing/2014/main" id="{3D09E1E6-DBE4-4BE0-B9F7-E84777D452BB}"/>
                </a:ext>
              </a:extLst>
            </p:cNvPr>
            <p:cNvCxnSpPr>
              <a:cxnSpLocks/>
            </p:cNvCxnSpPr>
            <p:nvPr/>
          </p:nvCxnSpPr>
          <p:spPr>
            <a:xfrm>
              <a:off x="1910080" y="3383280"/>
              <a:ext cx="9785" cy="647521"/>
            </a:xfrm>
            <a:prstGeom prst="line">
              <a:avLst/>
            </a:prstGeom>
            <a:ln w="38100">
              <a:solidFill>
                <a:srgbClr val="AE31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그룹 44">
            <a:extLst>
              <a:ext uri="{FF2B5EF4-FFF2-40B4-BE49-F238E27FC236}">
                <a16:creationId xmlns:a16="http://schemas.microsoft.com/office/drawing/2014/main" id="{B9A917D5-429B-46F1-8151-4E4CEE7DFE38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7021287" y="3820725"/>
            <a:ext cx="5061856" cy="1361440"/>
            <a:chOff x="-934180" y="3281680"/>
            <a:chExt cx="5061856" cy="1361440"/>
          </a:xfrm>
        </p:grpSpPr>
        <p:sp>
          <p:nvSpPr>
            <p:cNvPr id="46" name="사각형: 둥근 모서리 45">
              <a:extLst>
                <a:ext uri="{FF2B5EF4-FFF2-40B4-BE49-F238E27FC236}">
                  <a16:creationId xmlns:a16="http://schemas.microsoft.com/office/drawing/2014/main" id="{80EB3D30-110C-4CE8-A3B1-05F9538E7BE5}"/>
                </a:ext>
              </a:extLst>
            </p:cNvPr>
            <p:cNvSpPr/>
            <p:nvPr/>
          </p:nvSpPr>
          <p:spPr>
            <a:xfrm>
              <a:off x="-934180" y="3969841"/>
              <a:ext cx="5061856" cy="673279"/>
            </a:xfrm>
            <a:prstGeom prst="roundRect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ko-KR" sz="2800" dirty="0">
                  <a:latin typeface="나눔스퀘어라운드 Bold" pitchFamily="50" charset="-127"/>
                  <a:ea typeface="나눔스퀘어라운드 Bold" pitchFamily="50" charset="-127"/>
                </a:rPr>
                <a:t>3. </a:t>
              </a:r>
              <a:r>
                <a:rPr lang="ko-KR" altLang="en-US" sz="2800" dirty="0">
                  <a:latin typeface="나눔스퀘어라운드 Bold" pitchFamily="50" charset="-127"/>
                  <a:ea typeface="나눔스퀘어라운드 Bold" pitchFamily="50" charset="-127"/>
                </a:rPr>
                <a:t>독도를 지키기 위한 노력</a:t>
              </a:r>
            </a:p>
          </p:txBody>
        </p:sp>
        <p:sp>
          <p:nvSpPr>
            <p:cNvPr id="47" name="타원 46">
              <a:extLst>
                <a:ext uri="{FF2B5EF4-FFF2-40B4-BE49-F238E27FC236}">
                  <a16:creationId xmlns:a16="http://schemas.microsoft.com/office/drawing/2014/main" id="{A98C0C46-7932-48AD-85A0-291BE4B876A5}"/>
                </a:ext>
              </a:extLst>
            </p:cNvPr>
            <p:cNvSpPr/>
            <p:nvPr/>
          </p:nvSpPr>
          <p:spPr>
            <a:xfrm>
              <a:off x="1818640" y="3281680"/>
              <a:ext cx="223520" cy="223520"/>
            </a:xfrm>
            <a:prstGeom prst="ellips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cxnSp>
          <p:nvCxnSpPr>
            <p:cNvPr id="48" name="직선 연결선 47">
              <a:extLst>
                <a:ext uri="{FF2B5EF4-FFF2-40B4-BE49-F238E27FC236}">
                  <a16:creationId xmlns:a16="http://schemas.microsoft.com/office/drawing/2014/main" id="{BC8DDFE9-66D4-42C6-BB20-8D1CA0BC8985}"/>
                </a:ext>
              </a:extLst>
            </p:cNvPr>
            <p:cNvCxnSpPr>
              <a:cxnSpLocks/>
            </p:cNvCxnSpPr>
            <p:nvPr/>
          </p:nvCxnSpPr>
          <p:spPr>
            <a:xfrm>
              <a:off x="1910080" y="3383280"/>
              <a:ext cx="9785" cy="647521"/>
            </a:xfrm>
            <a:prstGeom prst="line">
              <a:avLst/>
            </a:prstGeom>
            <a:ln w="38100">
              <a:solidFill>
                <a:srgbClr val="AE314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420F2BC5-71A1-4AD0-83B6-88DAB5C0F31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85757" y="5258975"/>
            <a:ext cx="329930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2400" dirty="0">
                <a:solidFill>
                  <a:schemeClr val="bg1">
                    <a:lumMod val="50000"/>
                  </a:schemeClr>
                </a:solidFill>
                <a:latin typeface="나눔스퀘어라운드 Regular" pitchFamily="50" charset="-127"/>
                <a:ea typeface="나눔스퀘어라운드 Regular" pitchFamily="50" charset="-127"/>
              </a:rPr>
              <a:t>-</a:t>
            </a:r>
            <a:r>
              <a:rPr lang="ko-KR" altLang="en-US" sz="2400" dirty="0">
                <a:solidFill>
                  <a:schemeClr val="bg1">
                    <a:lumMod val="50000"/>
                  </a:schemeClr>
                </a:solidFill>
                <a:latin typeface="나눔스퀘어라운드 Regular" pitchFamily="50" charset="-127"/>
                <a:ea typeface="나눔스퀘어라운드 Regular" pitchFamily="50" charset="-127"/>
              </a:rPr>
              <a:t>역사적 사건을 시간의</a:t>
            </a:r>
            <a:endParaRPr lang="en-US" altLang="ko-KR" sz="2400" dirty="0">
              <a:solidFill>
                <a:schemeClr val="bg1">
                  <a:lumMod val="50000"/>
                </a:schemeClr>
              </a:solidFill>
              <a:latin typeface="나눔스퀘어라운드 Regular" pitchFamily="50" charset="-127"/>
              <a:ea typeface="나눔스퀘어라운드 Regular" pitchFamily="50" charset="-127"/>
            </a:endParaRPr>
          </a:p>
          <a:p>
            <a:pPr algn="ctr"/>
            <a:r>
              <a:rPr lang="ko-KR" altLang="en-US" sz="2400" dirty="0">
                <a:solidFill>
                  <a:schemeClr val="bg1">
                    <a:lumMod val="50000"/>
                  </a:schemeClr>
                </a:solidFill>
                <a:latin typeface="나눔스퀘어라운드 Regular" pitchFamily="50" charset="-127"/>
                <a:ea typeface="나눔스퀘어라운드 Regular" pitchFamily="50" charset="-127"/>
              </a:rPr>
              <a:t> 흐름에 따라서 나열</a:t>
            </a:r>
          </a:p>
        </p:txBody>
      </p:sp>
      <p:grpSp>
        <p:nvGrpSpPr>
          <p:cNvPr id="50" name="그룹 49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51" name="오각형 50"/>
            <p:cNvSpPr/>
            <p:nvPr>
              <p:custDataLst>
                <p:tags r:id="rId1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52" name="오각형 51"/>
            <p:cNvSpPr/>
            <p:nvPr>
              <p:custDataLst>
                <p:tags r:id="rId1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53" name="오각형 52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54" name="TextBox 53"/>
            <p:cNvSpPr txBox="1"/>
            <p:nvPr>
              <p:custDataLst>
                <p:tags r:id="rId14"/>
              </p:custDataLst>
            </p:nvPr>
          </p:nvSpPr>
          <p:spPr>
            <a:xfrm>
              <a:off x="426478" y="22817"/>
              <a:ext cx="1143121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ko-KR" altLang="en-US" sz="4400" dirty="0">
                  <a:solidFill>
                    <a:schemeClr val="bg1"/>
                  </a:solidFill>
                  <a:latin typeface="나눔스퀘어라운드 ExtraBold" pitchFamily="50" charset="-127"/>
                  <a:ea typeface="나눔스퀘어라운드 ExtraBold" pitchFamily="50" charset="-127"/>
                </a:rPr>
                <a:t>목    차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20449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0969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직사각형 1"/>
          <p:cNvSpPr/>
          <p:nvPr>
            <p:custDataLst>
              <p:tags r:id="rId3"/>
            </p:custDataLst>
          </p:nvPr>
        </p:nvSpPr>
        <p:spPr>
          <a:xfrm>
            <a:off x="1491343" y="334844"/>
            <a:ext cx="8889906" cy="743511"/>
          </a:xfrm>
          <a:prstGeom prst="rect">
            <a:avLst/>
          </a:prstGeom>
          <a:solidFill>
            <a:schemeClr val="bg1"/>
          </a:solidFill>
          <a:ln w="1143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99E12E-FFCF-4237-B97F-E180F45F4E8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986507" y="448660"/>
            <a:ext cx="1832554" cy="519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ko-KR" altLang="en-US" sz="2400" dirty="0">
                <a:solidFill>
                  <a:schemeClr val="bg1">
                    <a:lumMod val="50000"/>
                  </a:schemeClr>
                </a:solidFill>
                <a:latin typeface="나눔스퀘어라운드 Bold" pitchFamily="50" charset="-127"/>
                <a:ea typeface="나눔스퀘어라운드 Bold" pitchFamily="50" charset="-127"/>
              </a:rPr>
              <a:t>독도의 역사</a:t>
            </a:r>
            <a:endParaRPr lang="en-US" altLang="ko-KR" sz="2400" dirty="0">
              <a:solidFill>
                <a:schemeClr val="bg1">
                  <a:lumMod val="50000"/>
                </a:schemeClr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FA70AA1B-F93A-4072-B8EC-D1E7BD100E86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642094" y="523618"/>
            <a:ext cx="0" cy="350521"/>
          </a:xfrm>
          <a:prstGeom prst="line">
            <a:avLst/>
          </a:prstGeom>
          <a:ln w="19050"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id="{FA70AA1B-F93A-4072-B8EC-D1E7BD100E86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8163474" y="531338"/>
            <a:ext cx="0" cy="350521"/>
          </a:xfrm>
          <a:prstGeom prst="line">
            <a:avLst/>
          </a:prstGeom>
          <a:ln w="19050">
            <a:solidFill>
              <a:srgbClr val="AE31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그림 5">
            <a:extLst>
              <a:ext uri="{FF2B5EF4-FFF2-40B4-BE49-F238E27FC236}">
                <a16:creationId xmlns:a16="http://schemas.microsoft.com/office/drawing/2014/main" id="{A71A6ABD-CA2C-465A-976E-7CE806AE9CD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91343" y="1267129"/>
            <a:ext cx="8972407" cy="541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408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835036" y="1051990"/>
            <a:ext cx="2509563" cy="1220146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r>
              <a:rPr lang="en-US" altLang="ko-KR" sz="3600" dirty="0">
                <a:solidFill>
                  <a:schemeClr val="tx1"/>
                </a:solidFill>
              </a:rPr>
              <a:t>512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ABED490-4C86-4FD4-9915-BEFE113852D3}"/>
              </a:ext>
            </a:extLst>
          </p:cNvPr>
          <p:cNvSpPr/>
          <p:nvPr/>
        </p:nvSpPr>
        <p:spPr>
          <a:xfrm>
            <a:off x="4282116" y="1278394"/>
            <a:ext cx="460619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800" dirty="0">
                <a:latin typeface="나눔스퀘어라운드 Regular" pitchFamily="50" charset="-127"/>
                <a:ea typeface="나눔스퀘어라운드 Regular" pitchFamily="50" charset="-127"/>
              </a:rPr>
              <a:t>독도와 울릉도의 첫 시작</a:t>
            </a: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3ABED490-4C86-4FD4-9915-BEFE113852D3}"/>
              </a:ext>
            </a:extLst>
          </p:cNvPr>
          <p:cNvSpPr/>
          <p:nvPr/>
        </p:nvSpPr>
        <p:spPr>
          <a:xfrm>
            <a:off x="4205916" y="2267018"/>
            <a:ext cx="736861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800" dirty="0"/>
              <a:t>삼국사기 </a:t>
            </a:r>
            <a:r>
              <a:rPr lang="ko-KR" altLang="en-US" sz="2800" dirty="0" err="1"/>
              <a:t>신라본기</a:t>
            </a:r>
            <a:r>
              <a:rPr lang="ko-KR" altLang="en-US" sz="2800" dirty="0"/>
              <a:t> </a:t>
            </a:r>
            <a:r>
              <a:rPr lang="ko-KR" altLang="en-US" sz="2800" dirty="0" err="1"/>
              <a:t>지증왕</a:t>
            </a:r>
            <a:r>
              <a:rPr lang="ko-KR" altLang="en-US" sz="2800" dirty="0"/>
              <a:t> </a:t>
            </a:r>
            <a:r>
              <a:rPr lang="en-US" altLang="ko-KR" sz="2800" dirty="0"/>
              <a:t>13</a:t>
            </a:r>
            <a:r>
              <a:rPr lang="ko-KR" altLang="en-US" sz="2800" dirty="0"/>
              <a:t>년</a:t>
            </a:r>
            <a:endParaRPr lang="en-US" altLang="ko-KR" sz="2800" dirty="0"/>
          </a:p>
          <a:p>
            <a:r>
              <a:rPr lang="ko-KR" altLang="en-US" sz="2800" dirty="0"/>
              <a:t>    ‘</a:t>
            </a:r>
            <a:r>
              <a:rPr lang="en-US" altLang="ko-KR" sz="2800" dirty="0"/>
              <a:t>6</a:t>
            </a:r>
            <a:r>
              <a:rPr lang="ko-KR" altLang="en-US" sz="2800" dirty="0"/>
              <a:t>월에 우산국이 신라에 속했다’</a:t>
            </a:r>
            <a:endParaRPr lang="en-US" altLang="ko-KR" sz="2800" dirty="0"/>
          </a:p>
          <a:p>
            <a:endParaRPr lang="ko-KR" altLang="en-US" sz="2800" dirty="0"/>
          </a:p>
        </p:txBody>
      </p:sp>
      <p:pic>
        <p:nvPicPr>
          <p:cNvPr id="13" name="그림 12">
            <a:extLst>
              <a:ext uri="{FF2B5EF4-FFF2-40B4-BE49-F238E27FC236}">
                <a16:creationId xmlns:a16="http://schemas.microsoft.com/office/drawing/2014/main" id="{936271AC-96D6-4280-B62D-FF33E7BAFA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2630" y="2298848"/>
            <a:ext cx="2872360" cy="1702925"/>
          </a:xfrm>
          <a:prstGeom prst="rect">
            <a:avLst/>
          </a:prstGeom>
        </p:spPr>
      </p:pic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4EF3DC75-913B-40E6-B090-DFFEF6453841}"/>
              </a:ext>
            </a:extLst>
          </p:cNvPr>
          <p:cNvSpPr/>
          <p:nvPr/>
        </p:nvSpPr>
        <p:spPr>
          <a:xfrm>
            <a:off x="911875" y="4049640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200" dirty="0">
              <a:solidFill>
                <a:schemeClr val="tx1"/>
              </a:solidFill>
            </a:endParaRPr>
          </a:p>
          <a:p>
            <a:pPr algn="ctr"/>
            <a:r>
              <a:rPr lang="en-US" altLang="ko-KR" sz="3600" dirty="0">
                <a:solidFill>
                  <a:schemeClr val="tx1"/>
                </a:solidFill>
              </a:rPr>
              <a:t>1454</a:t>
            </a:r>
            <a:r>
              <a:rPr lang="ko-KR" altLang="en-US" sz="32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pic>
        <p:nvPicPr>
          <p:cNvPr id="17" name="그림 16">
            <a:extLst>
              <a:ext uri="{FF2B5EF4-FFF2-40B4-BE49-F238E27FC236}">
                <a16:creationId xmlns:a16="http://schemas.microsoft.com/office/drawing/2014/main" id="{857AC991-BA06-41EA-917B-705EC4A381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630" y="5404869"/>
            <a:ext cx="2872360" cy="1376525"/>
          </a:xfrm>
          <a:prstGeom prst="rect">
            <a:avLst/>
          </a:prstGeom>
        </p:spPr>
      </p:pic>
      <p:sp>
        <p:nvSpPr>
          <p:cNvPr id="18" name="직사각형 17">
            <a:extLst>
              <a:ext uri="{FF2B5EF4-FFF2-40B4-BE49-F238E27FC236}">
                <a16:creationId xmlns:a16="http://schemas.microsoft.com/office/drawing/2014/main" id="{4A0AA198-2CA7-4538-9ED6-24D4BC64B316}"/>
              </a:ext>
            </a:extLst>
          </p:cNvPr>
          <p:cNvSpPr/>
          <p:nvPr/>
        </p:nvSpPr>
        <p:spPr>
          <a:xfrm>
            <a:off x="4205916" y="4355560"/>
            <a:ext cx="6514290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조선 초기 </a:t>
            </a:r>
            <a:r>
              <a:rPr lang="ko-KR" altLang="en-US" sz="3000" dirty="0" err="1"/>
              <a:t>관찬서</a:t>
            </a:r>
            <a:r>
              <a:rPr lang="ko-KR" altLang="en-US" sz="3000" dirty="0"/>
              <a:t> ‘</a:t>
            </a:r>
            <a:r>
              <a:rPr lang="ko-KR" altLang="en-US" sz="3000" dirty="0" err="1"/>
              <a:t>세종실록‘</a:t>
            </a:r>
            <a:r>
              <a:rPr lang="ko-KR" altLang="en-US" sz="2500" dirty="0" err="1"/>
              <a:t>의</a:t>
            </a:r>
            <a:r>
              <a:rPr lang="ko-KR" altLang="en-US" sz="2500" dirty="0"/>
              <a:t> 지리지</a:t>
            </a:r>
            <a:r>
              <a:rPr lang="en-US" altLang="ko-KR" sz="2500" dirty="0"/>
              <a:t>-</a:t>
            </a:r>
            <a:r>
              <a:rPr lang="ko-KR" altLang="en-US" sz="2500" dirty="0"/>
              <a:t>강원도 울진현에 속한 섬이고 울릉도에서 날씨가 맑은 날 육안으로 볼 수 있는 섬은 독도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71316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868706" y="1184579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endParaRPr lang="en-US" altLang="ko-KR" sz="3600" dirty="0">
              <a:solidFill>
                <a:schemeClr val="tx1"/>
              </a:solidFill>
            </a:endParaRPr>
          </a:p>
          <a:p>
            <a:pPr algn="ctr"/>
            <a:r>
              <a:rPr lang="en-US" altLang="ko-KR" sz="3600" dirty="0">
                <a:solidFill>
                  <a:schemeClr val="tx1"/>
                </a:solidFill>
              </a:rPr>
              <a:t>1625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en-US" altLang="ko-KR" sz="32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4" name="직사각형 13"/>
          <p:cNvSpPr/>
          <p:nvPr/>
        </p:nvSpPr>
        <p:spPr>
          <a:xfrm>
            <a:off x="3824354" y="3734612"/>
            <a:ext cx="624241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dirty="0">
                <a:latin typeface="나눔스퀘어라운드 Regular" pitchFamily="50" charset="-127"/>
                <a:ea typeface="나눔스퀘어라운드 Regular" pitchFamily="50" charset="-127"/>
              </a:rPr>
              <a:t>-</a:t>
            </a:r>
            <a:r>
              <a:rPr lang="ko-KR" altLang="en-US" dirty="0">
                <a:latin typeface="나눔스퀘어라운드 Regular" pitchFamily="50" charset="-127"/>
                <a:ea typeface="나눔스퀘어라운드 Regular" pitchFamily="50" charset="-127"/>
              </a:rPr>
              <a:t>조선</a:t>
            </a:r>
            <a:r>
              <a:rPr lang="ko-KR" altLang="en-US" dirty="0"/>
              <a:t>과 일본 본격적인 울릉도와 독도의 영유권  분쟁 시작</a:t>
            </a:r>
          </a:p>
          <a:p>
            <a:endParaRPr lang="ko-KR" altLang="en-US" dirty="0"/>
          </a:p>
        </p:txBody>
      </p:sp>
      <p:sp>
        <p:nvSpPr>
          <p:cNvPr id="13" name="직사각형 12">
            <a:extLst>
              <a:ext uri="{FF2B5EF4-FFF2-40B4-BE49-F238E27FC236}">
                <a16:creationId xmlns:a16="http://schemas.microsoft.com/office/drawing/2014/main" id="{023E3551-375C-4F54-88DE-DAC3BF857EEF}"/>
              </a:ext>
            </a:extLst>
          </p:cNvPr>
          <p:cNvSpPr/>
          <p:nvPr/>
        </p:nvSpPr>
        <p:spPr>
          <a:xfrm>
            <a:off x="3707396" y="1607843"/>
            <a:ext cx="5553635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일본 막부가 울릉도 도해 면허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6" name="사각형: 둥근 모서리 15">
            <a:extLst>
              <a:ext uri="{FF2B5EF4-FFF2-40B4-BE49-F238E27FC236}">
                <a16:creationId xmlns:a16="http://schemas.microsoft.com/office/drawing/2014/main" id="{B98D53A1-F932-447C-A97B-41312B13EAF2}"/>
              </a:ext>
            </a:extLst>
          </p:cNvPr>
          <p:cNvSpPr/>
          <p:nvPr/>
        </p:nvSpPr>
        <p:spPr>
          <a:xfrm>
            <a:off x="868706" y="3071702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693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7" name="직사각형 16">
            <a:extLst>
              <a:ext uri="{FF2B5EF4-FFF2-40B4-BE49-F238E27FC236}">
                <a16:creationId xmlns:a16="http://schemas.microsoft.com/office/drawing/2014/main" id="{B0CDC5E4-43B6-40D7-BA4B-EC0C7A04FB54}"/>
              </a:ext>
            </a:extLst>
          </p:cNvPr>
          <p:cNvSpPr/>
          <p:nvPr/>
        </p:nvSpPr>
        <p:spPr>
          <a:xfrm>
            <a:off x="3707396" y="3280642"/>
            <a:ext cx="4606198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안용복</a:t>
            </a:r>
            <a:r>
              <a:rPr lang="en-US" altLang="ko-KR" sz="2500" dirty="0"/>
              <a:t>, </a:t>
            </a:r>
            <a:r>
              <a:rPr lang="ko-KR" altLang="en-US" sz="2500" dirty="0" err="1"/>
              <a:t>박어둔</a:t>
            </a:r>
            <a:r>
              <a:rPr lang="ko-KR" altLang="en-US" sz="2500" dirty="0"/>
              <a:t> 납치 사건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sp>
        <p:nvSpPr>
          <p:cNvPr id="18" name="사각형: 둥근 모서리 17">
            <a:extLst>
              <a:ext uri="{FF2B5EF4-FFF2-40B4-BE49-F238E27FC236}">
                <a16:creationId xmlns:a16="http://schemas.microsoft.com/office/drawing/2014/main" id="{5FA64902-C924-4C37-9674-559A9DB08F8D}"/>
              </a:ext>
            </a:extLst>
          </p:cNvPr>
          <p:cNvSpPr/>
          <p:nvPr/>
        </p:nvSpPr>
        <p:spPr>
          <a:xfrm>
            <a:off x="868706" y="4922120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694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584CF895-CF05-4E55-A191-FF452E137EC6}"/>
              </a:ext>
            </a:extLst>
          </p:cNvPr>
          <p:cNvSpPr/>
          <p:nvPr/>
        </p:nvSpPr>
        <p:spPr>
          <a:xfrm>
            <a:off x="3761183" y="5250157"/>
            <a:ext cx="4606198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altLang="ko-KR" sz="2500" dirty="0"/>
              <a:t>‘</a:t>
            </a:r>
            <a:r>
              <a:rPr lang="ko-KR" altLang="en-US" sz="2500" dirty="0" err="1"/>
              <a:t>수토제도</a:t>
            </a:r>
            <a:r>
              <a:rPr lang="en-US" altLang="ko-KR" sz="2500" dirty="0"/>
              <a:t>’</a:t>
            </a:r>
            <a:r>
              <a:rPr lang="ko-KR" altLang="en-US" sz="2500" dirty="0"/>
              <a:t> 시행</a:t>
            </a: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7236777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658196" y="970574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695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ABED490-4C86-4FD4-9915-BEFE113852D3}"/>
              </a:ext>
            </a:extLst>
          </p:cNvPr>
          <p:cNvSpPr/>
          <p:nvPr/>
        </p:nvSpPr>
        <p:spPr>
          <a:xfrm>
            <a:off x="3304848" y="1024662"/>
            <a:ext cx="7795541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일본 막부</a:t>
            </a:r>
            <a:r>
              <a:rPr lang="en-US" altLang="ko-KR" sz="2500" dirty="0"/>
              <a:t>      </a:t>
            </a:r>
            <a:r>
              <a:rPr lang="ko-KR" altLang="en-US" sz="2500" dirty="0" err="1"/>
              <a:t>돗토리</a:t>
            </a:r>
            <a:r>
              <a:rPr lang="ko-KR" altLang="en-US" sz="2500" dirty="0"/>
              <a:t> 번에 울릉도 소속 질문</a:t>
            </a:r>
            <a:endParaRPr lang="en-US" altLang="ko-KR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울릉도와 독도가 </a:t>
            </a:r>
            <a:r>
              <a:rPr lang="ko-KR" altLang="en-US" sz="2500" dirty="0" err="1"/>
              <a:t>돗토리</a:t>
            </a:r>
            <a:r>
              <a:rPr lang="ko-KR" altLang="en-US" sz="2500" dirty="0"/>
              <a:t> 번의 소속이 아님 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4" name="직사각형 13"/>
          <p:cNvSpPr/>
          <p:nvPr/>
        </p:nvSpPr>
        <p:spPr>
          <a:xfrm>
            <a:off x="4027164" y="5401473"/>
            <a:ext cx="413767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altLang="ko-KR" dirty="0"/>
              <a:t>- ’원록9병자년조선주착안일권지각서‘ </a:t>
            </a:r>
          </a:p>
          <a:p>
            <a:endParaRPr lang="ko-KR" altLang="en-US" dirty="0"/>
          </a:p>
        </p:txBody>
      </p:sp>
      <p:sp>
        <p:nvSpPr>
          <p:cNvPr id="3" name="화살표: 오른쪽 2">
            <a:extLst>
              <a:ext uri="{FF2B5EF4-FFF2-40B4-BE49-F238E27FC236}">
                <a16:creationId xmlns:a16="http://schemas.microsoft.com/office/drawing/2014/main" id="{588260A8-B4D5-4FF5-A52E-D6228ED5F152}"/>
              </a:ext>
            </a:extLst>
          </p:cNvPr>
          <p:cNvSpPr/>
          <p:nvPr/>
        </p:nvSpPr>
        <p:spPr>
          <a:xfrm>
            <a:off x="5323135" y="1133361"/>
            <a:ext cx="434103" cy="271057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1DABB5C7-2AA4-4090-A30F-F87094B4D921}"/>
              </a:ext>
            </a:extLst>
          </p:cNvPr>
          <p:cNvSpPr/>
          <p:nvPr/>
        </p:nvSpPr>
        <p:spPr>
          <a:xfrm>
            <a:off x="658196" y="2841565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696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A7AB436-3D72-402E-BC7A-8697BDEB3520}"/>
              </a:ext>
            </a:extLst>
          </p:cNvPr>
          <p:cNvSpPr/>
          <p:nvPr/>
        </p:nvSpPr>
        <p:spPr>
          <a:xfrm>
            <a:off x="3648404" y="2640156"/>
            <a:ext cx="854359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일본 막부</a:t>
            </a:r>
            <a:r>
              <a:rPr lang="en-US" altLang="ko-KR" sz="2500" dirty="0"/>
              <a:t>, </a:t>
            </a:r>
            <a:r>
              <a:rPr lang="ko-KR" altLang="en-US" sz="2500" dirty="0"/>
              <a:t>울릉도 도해금지령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울릉도가 조선의 땅임을 공식적으로 확인 </a:t>
            </a:r>
            <a:endParaRPr lang="en-US" altLang="ko-KR" sz="2500" dirty="0"/>
          </a:p>
          <a:p>
            <a:r>
              <a:rPr lang="en-US" altLang="ko-KR" sz="2500" dirty="0"/>
              <a:t>   </a:t>
            </a: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94CF8DC5-607B-4304-B064-65031C56B7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654" y="4155958"/>
            <a:ext cx="3650742" cy="262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235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658196" y="970574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770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ABED490-4C86-4FD4-9915-BEFE113852D3}"/>
              </a:ext>
            </a:extLst>
          </p:cNvPr>
          <p:cNvSpPr/>
          <p:nvPr/>
        </p:nvSpPr>
        <p:spPr>
          <a:xfrm>
            <a:off x="3358844" y="778720"/>
            <a:ext cx="7795541" cy="2508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독도와 울릉도</a:t>
            </a:r>
            <a:r>
              <a:rPr lang="en-US" altLang="ko-KR" sz="2500" dirty="0"/>
              <a:t>… </a:t>
            </a:r>
          </a:p>
          <a:p>
            <a:r>
              <a:rPr lang="ko-KR" altLang="en-US" sz="2500" dirty="0"/>
              <a:t>두 섬으로 하나가 바로 우산이다</a:t>
            </a:r>
            <a:r>
              <a:rPr lang="en-US" altLang="ko-KR" sz="2500" dirty="0"/>
              <a:t>.</a:t>
            </a:r>
          </a:p>
          <a:p>
            <a:r>
              <a:rPr lang="en-US" altLang="ko-KR" dirty="0"/>
              <a:t>      </a:t>
            </a:r>
          </a:p>
          <a:p>
            <a:r>
              <a:rPr lang="en-US" altLang="ko-KR" dirty="0"/>
              <a:t>     </a:t>
            </a:r>
          </a:p>
          <a:p>
            <a:r>
              <a:rPr lang="en-US" altLang="ko-KR" dirty="0"/>
              <a:t>                              -’</a:t>
            </a:r>
            <a:r>
              <a:rPr lang="ko-KR" altLang="en-US" dirty="0" err="1"/>
              <a:t>동국문헌비고의</a:t>
            </a:r>
            <a:r>
              <a:rPr lang="ko-KR" altLang="en-US" dirty="0"/>
              <a:t> 여지고＇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4" name="직사각형 13"/>
          <p:cNvSpPr/>
          <p:nvPr/>
        </p:nvSpPr>
        <p:spPr>
          <a:xfrm>
            <a:off x="6289842" y="5121866"/>
            <a:ext cx="193354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altLang="ko-KR" dirty="0"/>
              <a:t>- ’</a:t>
            </a:r>
            <a:r>
              <a:rPr lang="ko-KR" altLang="en-US" dirty="0" err="1"/>
              <a:t>삼국접양지도</a:t>
            </a:r>
            <a:r>
              <a:rPr lang="en-US" altLang="ko-KR" dirty="0"/>
              <a:t>‘ </a:t>
            </a:r>
          </a:p>
          <a:p>
            <a:endParaRPr lang="ko-KR" altLang="en-US" dirty="0"/>
          </a:p>
        </p:txBody>
      </p: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1DABB5C7-2AA4-4090-A30F-F87094B4D921}"/>
              </a:ext>
            </a:extLst>
          </p:cNvPr>
          <p:cNvSpPr/>
          <p:nvPr/>
        </p:nvSpPr>
        <p:spPr>
          <a:xfrm>
            <a:off x="659458" y="3767207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785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A7AB436-3D72-402E-BC7A-8697BDEB3520}"/>
              </a:ext>
            </a:extLst>
          </p:cNvPr>
          <p:cNvSpPr/>
          <p:nvPr/>
        </p:nvSpPr>
        <p:spPr>
          <a:xfrm>
            <a:off x="3529567" y="3812114"/>
            <a:ext cx="8543596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일본의 </a:t>
            </a:r>
            <a:r>
              <a:rPr lang="ko-KR" altLang="en-US" sz="2500" dirty="0" err="1"/>
              <a:t>하야시시헤이가</a:t>
            </a:r>
            <a:r>
              <a:rPr lang="ko-KR" altLang="en-US" sz="2500" dirty="0"/>
              <a:t> 울릉도와 독도는 한국의 것이라고 표기 해 놓은 지도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DE697301-9636-423F-AA7A-5AD1867BDB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03697" y="164771"/>
            <a:ext cx="2913240" cy="3384835"/>
          </a:xfrm>
          <a:prstGeom prst="rect">
            <a:avLst/>
          </a:prstGeom>
        </p:spPr>
      </p:pic>
      <p:pic>
        <p:nvPicPr>
          <p:cNvPr id="8" name="그림 7">
            <a:extLst>
              <a:ext uri="{FF2B5EF4-FFF2-40B4-BE49-F238E27FC236}">
                <a16:creationId xmlns:a16="http://schemas.microsoft.com/office/drawing/2014/main" id="{3455E631-BDF7-4732-A7AC-67B86D9969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29603" y="4311261"/>
            <a:ext cx="3625699" cy="2381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6567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658196" y="970574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870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ABED490-4C86-4FD4-9915-BEFE113852D3}"/>
              </a:ext>
            </a:extLst>
          </p:cNvPr>
          <p:cNvSpPr/>
          <p:nvPr/>
        </p:nvSpPr>
        <p:spPr>
          <a:xfrm>
            <a:off x="3449930" y="970574"/>
            <a:ext cx="7795541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당시 일본 외무성이 두 섬을 조선의 영토로 인식했다는 증거</a:t>
            </a:r>
          </a:p>
          <a:p>
            <a:r>
              <a:rPr lang="en-US" altLang="ko-KR" dirty="0"/>
              <a:t>   -</a:t>
            </a:r>
            <a:r>
              <a:rPr lang="ko-KR" altLang="en-US" sz="2800" dirty="0"/>
              <a:t> </a:t>
            </a:r>
            <a:r>
              <a:rPr lang="ko-KR" altLang="en-US" dirty="0"/>
              <a:t>‘</a:t>
            </a:r>
            <a:r>
              <a:rPr lang="ko-KR" altLang="en-US" dirty="0" err="1"/>
              <a:t>조선국교제시말내탐서</a:t>
            </a:r>
            <a:r>
              <a:rPr lang="ko-KR" altLang="en-US" dirty="0"/>
              <a:t>’   </a:t>
            </a:r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endParaRPr lang="en-US" altLang="ko-KR" dirty="0"/>
          </a:p>
          <a:p>
            <a:r>
              <a:rPr lang="en-US" altLang="ko-KR" dirty="0"/>
              <a:t>              </a:t>
            </a:r>
            <a:r>
              <a:rPr lang="ko-KR" altLang="en-US" dirty="0"/>
              <a:t> “울릉도와 독도가 조선 부속이 된 사정”</a:t>
            </a:r>
            <a:endParaRPr lang="en-US" altLang="ko-KR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sp>
        <p:nvSpPr>
          <p:cNvPr id="13" name="사각형: 둥근 모서리 12">
            <a:extLst>
              <a:ext uri="{FF2B5EF4-FFF2-40B4-BE49-F238E27FC236}">
                <a16:creationId xmlns:a16="http://schemas.microsoft.com/office/drawing/2014/main" id="{1DABB5C7-2AA4-4090-A30F-F87094B4D921}"/>
              </a:ext>
            </a:extLst>
          </p:cNvPr>
          <p:cNvSpPr/>
          <p:nvPr/>
        </p:nvSpPr>
        <p:spPr>
          <a:xfrm>
            <a:off x="743256" y="4428936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877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15" name="직사각형 14">
            <a:extLst>
              <a:ext uri="{FF2B5EF4-FFF2-40B4-BE49-F238E27FC236}">
                <a16:creationId xmlns:a16="http://schemas.microsoft.com/office/drawing/2014/main" id="{5A7AB436-3D72-402E-BC7A-8697BDEB3520}"/>
              </a:ext>
            </a:extLst>
          </p:cNvPr>
          <p:cNvSpPr/>
          <p:nvPr/>
        </p:nvSpPr>
        <p:spPr>
          <a:xfrm>
            <a:off x="3534990" y="4747779"/>
            <a:ext cx="8543596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일본 행정기구 ‘태정관’ 내무성에 울릉도와 독도가 일본의 땅이 아니라고 내린 지령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ko-KR" altLang="en-US" sz="25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altLang="ko-KR" sz="2800" dirty="0">
              <a:latin typeface="나눔스퀘어라운드 Regular" pitchFamily="50" charset="-127"/>
              <a:ea typeface="나눔스퀘어라운드 Regular" pitchFamily="50" charset="-127"/>
              <a:sym typeface="Wingdings" panose="05000000000000000000" pitchFamily="2" charset="2"/>
            </a:endParaRPr>
          </a:p>
        </p:txBody>
      </p:sp>
      <p:pic>
        <p:nvPicPr>
          <p:cNvPr id="3" name="그림 2">
            <a:extLst>
              <a:ext uri="{FF2B5EF4-FFF2-40B4-BE49-F238E27FC236}">
                <a16:creationId xmlns:a16="http://schemas.microsoft.com/office/drawing/2014/main" id="{35381916-DF81-44F4-A507-DD09431AD9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9782" y="2277937"/>
            <a:ext cx="4912241" cy="1767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351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사각형: 둥근 모서리 4">
            <a:extLst>
              <a:ext uri="{FF2B5EF4-FFF2-40B4-BE49-F238E27FC236}">
                <a16:creationId xmlns:a16="http://schemas.microsoft.com/office/drawing/2014/main" id="{06CA52D3-C396-4D0C-82D0-29550A603E6D}"/>
              </a:ext>
            </a:extLst>
          </p:cNvPr>
          <p:cNvSpPr/>
          <p:nvPr/>
        </p:nvSpPr>
        <p:spPr>
          <a:xfrm>
            <a:off x="661929" y="1608527"/>
            <a:ext cx="2432724" cy="1307363"/>
          </a:xfrm>
          <a:prstGeom prst="roundRect">
            <a:avLst/>
          </a:prstGeom>
          <a:solidFill>
            <a:schemeClr val="bg1"/>
          </a:solidFill>
          <a:ln w="76200">
            <a:solidFill>
              <a:srgbClr val="AE3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altLang="ko-KR" sz="3000" dirty="0">
              <a:solidFill>
                <a:schemeClr val="tx1"/>
              </a:solidFill>
            </a:endParaRP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</a:t>
            </a:r>
          </a:p>
          <a:p>
            <a:pPr fontAlgn="base"/>
            <a:r>
              <a:rPr lang="en-US" altLang="ko-KR" sz="3600" dirty="0">
                <a:solidFill>
                  <a:schemeClr val="tx1"/>
                </a:solidFill>
              </a:rPr>
              <a:t>  1899</a:t>
            </a:r>
            <a:r>
              <a:rPr lang="ko-KR" altLang="en-US" sz="3600" dirty="0">
                <a:solidFill>
                  <a:schemeClr val="tx1"/>
                </a:solidFill>
              </a:rPr>
              <a:t>년</a:t>
            </a:r>
          </a:p>
          <a:p>
            <a:pPr fontAlgn="base"/>
            <a:endParaRPr lang="ko-KR" altLang="en-US" sz="3600" dirty="0">
              <a:solidFill>
                <a:schemeClr val="tx1"/>
              </a:solidFill>
            </a:endParaRPr>
          </a:p>
          <a:p>
            <a:pPr algn="ctr"/>
            <a:endParaRPr lang="ko-KR" altLang="en-US" sz="3200" dirty="0">
              <a:solidFill>
                <a:schemeClr val="tx1"/>
              </a:solidFill>
              <a:latin typeface="나눔스퀘어라운드 Bold" pitchFamily="50" charset="-127"/>
              <a:ea typeface="나눔스퀘어라운드 Bold" pitchFamily="50" charset="-127"/>
            </a:endParaRPr>
          </a:p>
        </p:txBody>
      </p:sp>
      <p:sp>
        <p:nvSpPr>
          <p:cNvPr id="7" name="직사각형 6">
            <a:extLst>
              <a:ext uri="{FF2B5EF4-FFF2-40B4-BE49-F238E27FC236}">
                <a16:creationId xmlns:a16="http://schemas.microsoft.com/office/drawing/2014/main" id="{3ABED490-4C86-4FD4-9915-BEFE113852D3}"/>
              </a:ext>
            </a:extLst>
          </p:cNvPr>
          <p:cNvSpPr/>
          <p:nvPr/>
        </p:nvSpPr>
        <p:spPr>
          <a:xfrm>
            <a:off x="429250" y="3220172"/>
            <a:ext cx="7795541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ko-KR" altLang="en-US" sz="2500" dirty="0"/>
              <a:t>우리 조선인들이 독도를 관리</a:t>
            </a:r>
            <a:r>
              <a:rPr lang="en-US" altLang="ko-KR" sz="2500" dirty="0"/>
              <a:t>, </a:t>
            </a:r>
            <a:r>
              <a:rPr lang="ko-KR" altLang="en-US" sz="2500" dirty="0"/>
              <a:t>관할함을 증명</a:t>
            </a:r>
          </a:p>
          <a:p>
            <a:r>
              <a:rPr lang="en-US" altLang="ko-KR" dirty="0"/>
              <a:t> </a:t>
            </a:r>
          </a:p>
          <a:p>
            <a:r>
              <a:rPr lang="en-US" altLang="ko-KR" dirty="0"/>
              <a:t>                                                                    -</a:t>
            </a:r>
            <a:r>
              <a:rPr lang="ko-KR" altLang="en-US" sz="2800" dirty="0"/>
              <a:t> </a:t>
            </a:r>
            <a:r>
              <a:rPr lang="ko-KR" altLang="en-US" dirty="0"/>
              <a:t>‘황성신문 별보’ </a:t>
            </a:r>
            <a:endParaRPr lang="en-US" altLang="ko-KR" dirty="0"/>
          </a:p>
        </p:txBody>
      </p:sp>
      <p:grpSp>
        <p:nvGrpSpPr>
          <p:cNvPr id="2" name="그룹 1"/>
          <p:cNvGrpSpPr/>
          <p:nvPr/>
        </p:nvGrpSpPr>
        <p:grpSpPr>
          <a:xfrm>
            <a:off x="-13448" y="-13447"/>
            <a:ext cx="5553635" cy="826437"/>
            <a:chOff x="0" y="0"/>
            <a:chExt cx="3576918" cy="826437"/>
          </a:xfrm>
        </p:grpSpPr>
        <p:sp>
          <p:nvSpPr>
            <p:cNvPr id="9" name="오각형 8"/>
            <p:cNvSpPr/>
            <p:nvPr>
              <p:custDataLst>
                <p:tags r:id="rId1"/>
              </p:custDataLst>
            </p:nvPr>
          </p:nvSpPr>
          <p:spPr>
            <a:xfrm>
              <a:off x="0" y="0"/>
              <a:ext cx="3576918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0" name="오각형 9"/>
            <p:cNvSpPr/>
            <p:nvPr>
              <p:custDataLst>
                <p:tags r:id="rId2"/>
              </p:custDataLst>
            </p:nvPr>
          </p:nvSpPr>
          <p:spPr>
            <a:xfrm>
              <a:off x="134470" y="0"/>
              <a:ext cx="2823882" cy="826437"/>
            </a:xfrm>
            <a:prstGeom prst="homePlat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1" name="오각형 10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40341" y="0"/>
              <a:ext cx="2245094" cy="826437"/>
            </a:xfrm>
            <a:prstGeom prst="homePlate">
              <a:avLst/>
            </a:prstGeom>
            <a:solidFill>
              <a:srgbClr val="AE314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나눔스퀘어라운드 Bold" pitchFamily="50" charset="-127"/>
                <a:ea typeface="나눔스퀘어라운드 Bold" pitchFamily="50" charset="-127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4"/>
              </p:custDataLst>
            </p:nvPr>
          </p:nvSpPr>
          <p:spPr>
            <a:xfrm>
              <a:off x="40341" y="90052"/>
              <a:ext cx="235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36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01. </a:t>
              </a:r>
              <a:r>
                <a:rPr lang="ko-KR" altLang="en-US" sz="3200" dirty="0">
                  <a:solidFill>
                    <a:schemeClr val="bg1"/>
                  </a:solidFill>
                  <a:latin typeface="나눔스퀘어라운드 Bold" pitchFamily="50" charset="-127"/>
                  <a:ea typeface="나눔스퀘어라운드 Bold" pitchFamily="50" charset="-127"/>
                </a:rPr>
                <a:t>독도의 역사</a:t>
              </a:r>
            </a:p>
          </p:txBody>
        </p:sp>
      </p:grpSp>
      <p:pic>
        <p:nvPicPr>
          <p:cNvPr id="4" name="그림 3">
            <a:extLst>
              <a:ext uri="{FF2B5EF4-FFF2-40B4-BE49-F238E27FC236}">
                <a16:creationId xmlns:a16="http://schemas.microsoft.com/office/drawing/2014/main" id="{42208D34-FCEE-4F06-890D-2BD62F63A0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87155" y="895749"/>
            <a:ext cx="3471287" cy="4648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716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e2WqwIUu6IuHB_nB3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eY_uyf9ECgvlK7Wkvm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2domh910KX9XZDK1Cf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5ZA2ajE0i0Torupjfv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my_OSXf02d9ZJTjsq_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zmwEt7dUiavTmp6rR0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4SnVyvh0On.TU8Zguy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ELT9u6S0qk_1me04hv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42tU7WLUikBBQ1YfST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sS5CnTHkKadNcFBSID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StSwYKlkiiImeshN6tf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74LOWHkavKfQaakV8w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jBsrtMeESUcd45GtZll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Soe_EjcEC9ctS.HiCo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GeDgrr0Sa7FZK7ma9_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0MVIrjsUGJdbkylfDkw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KqdfzYDE2xFzn9lbgu7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TZnRdy1Eqme5b6b9LB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Ep2KSz5Eyg3TRzFKd4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zwNw2zU63qzc23wLT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vK9dLWFESebb8a6qXVbA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7</Words>
  <Application>Microsoft Office PowerPoint</Application>
  <PresentationFormat>와이드스크린</PresentationFormat>
  <Paragraphs>113</Paragraphs>
  <Slides>10</Slides>
  <Notes>6</Notes>
  <HiddenSlides>0</HiddenSlides>
  <MMClips>0</MMClips>
  <ScaleCrop>false</ScaleCrop>
  <HeadingPairs>
    <vt:vector size="8" baseType="variant">
      <vt:variant>
        <vt:lpstr>사용한 글꼴</vt:lpstr>
      </vt:variant>
      <vt:variant>
        <vt:i4>6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0</vt:i4>
      </vt:variant>
    </vt:vector>
  </HeadingPairs>
  <TitlesOfParts>
    <vt:vector size="18" baseType="lpstr">
      <vt:lpstr>나눔스퀘어라운드 Bold</vt:lpstr>
      <vt:lpstr>나눔스퀘어라운드 ExtraBold</vt:lpstr>
      <vt:lpstr>나눔스퀘어라운드 Regular</vt:lpstr>
      <vt:lpstr>맑은 고딕</vt:lpstr>
      <vt:lpstr>Arial</vt:lpstr>
      <vt:lpstr>Wingdings</vt:lpstr>
      <vt:lpstr>Office 테마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/>
  <cp:lastModifiedBy/>
  <cp:revision>46</cp:revision>
  <dcterms:created xsi:type="dcterms:W3CDTF">2018-05-22T15:15:52Z</dcterms:created>
  <dcterms:modified xsi:type="dcterms:W3CDTF">2020-05-03T14:01:49Z</dcterms:modified>
</cp:coreProperties>
</file>